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3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Default Extension="gif" ContentType="image/gif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079" r:id="rId2"/>
    <p:sldMasterId id="2147484095" r:id="rId3"/>
  </p:sldMasterIdLst>
  <p:notesMasterIdLst>
    <p:notesMasterId r:id="rId13"/>
  </p:notesMasterIdLst>
  <p:sldIdLst>
    <p:sldId id="454" r:id="rId4"/>
    <p:sldId id="457" r:id="rId5"/>
    <p:sldId id="458" r:id="rId6"/>
    <p:sldId id="459" r:id="rId7"/>
    <p:sldId id="460" r:id="rId8"/>
    <p:sldId id="461" r:id="rId9"/>
    <p:sldId id="462" r:id="rId10"/>
    <p:sldId id="399" r:id="rId11"/>
    <p:sldId id="292" r:id="rId12"/>
  </p:sldIdLst>
  <p:sldSz cx="9906000" cy="6858000" type="A4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DDD"/>
    <a:srgbClr val="DEDEDE"/>
    <a:srgbClr val="0000FF"/>
    <a:srgbClr val="008000"/>
    <a:srgbClr val="EAEAEA"/>
    <a:srgbClr val="EDF3F9"/>
    <a:srgbClr val="F6F9FC"/>
    <a:srgbClr val="AEBBD6"/>
    <a:srgbClr val="B7C3DB"/>
    <a:srgbClr val="95A7CB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6036" autoAdjust="0"/>
    <p:restoredTop sz="31250" autoAdjust="0"/>
  </p:normalViewPr>
  <p:slideViewPr>
    <p:cSldViewPr>
      <p:cViewPr>
        <p:scale>
          <a:sx n="100" d="100"/>
          <a:sy n="100" d="100"/>
        </p:scale>
        <p:origin x="-1644" y="-40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40D7E3-4074-4351-B405-FFF55EA08A80}" type="datetimeFigureOut">
              <a:rPr lang="ru-RU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44DF127-4663-4527-8EF9-6E55DB04F4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7908273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19C518-398F-4FA6-9905-6EDEE8C8CB7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62235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19C518-398F-4FA6-9905-6EDEE8C8CB7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6223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19C518-398F-4FA6-9905-6EDEE8C8CB7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62235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19C518-398F-4FA6-9905-6EDEE8C8CB7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6223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19C518-398F-4FA6-9905-6EDEE8C8CB7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6223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2500" y="685800"/>
            <a:ext cx="4953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19C518-398F-4FA6-9905-6EDEE8C8CB7C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762235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5.png"/><Relationship Id="rId2" Type="http://schemas.openxmlformats.org/officeDocument/2006/relationships/tags" Target="../tags/tag1.xml"/><Relationship Id="rId16" Type="http://schemas.openxmlformats.org/officeDocument/2006/relationships/image" Target="../media/image4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6" descr="ЧГУ_00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6584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535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2AB69A-5ACF-445B-93EC-A21E979683AB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ADC365-A482-4CC1-A7AA-52FBEF30666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15647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0D2167-AE67-4CBC-87E3-3049A581899A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29E7B8-F6C0-4155-91F1-DF385BAFA6F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18828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68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68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202230-DAB6-4DC3-ABCB-6D38A70F23E7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31DACF-27F3-428F-9483-8262D311DF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846386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8322" name="think-cell Slide" r:id="rId15" imgW="360" imgH="360" progId="">
              <p:embed/>
            </p:oleObj>
          </a:graphicData>
        </a:graphic>
      </p:graphicFrame>
      <p:sp>
        <p:nvSpPr>
          <p:cNvPr id="3" name="Прямоугольник 3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 flipH="1">
            <a:off x="1" y="6540500"/>
            <a:ext cx="9469173" cy="241300"/>
          </a:xfrm>
          <a:prstGeom prst="rect">
            <a:avLst/>
          </a:prstGeom>
          <a:solidFill>
            <a:srgbClr val="0F8CE9"/>
          </a:solidFill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black"/>
              </a:solidFill>
              <a:latin typeface="Arial" pitchFamily="34" charset="0"/>
              <a:cs typeface="Arial" charset="0"/>
            </a:endParaRPr>
          </a:p>
        </p:txBody>
      </p:sp>
      <p:pic>
        <p:nvPicPr>
          <p:cNvPr id="4" name="Picture 5" descr="Untitled-1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897284" y="6540500"/>
            <a:ext cx="157189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4" descr="C:\Documents and Settings\sukharev.IACENTER\Рабочий стол\logo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99748" y="6572250"/>
            <a:ext cx="584729" cy="17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15"/>
          <p:cNvSpPr>
            <a:spLocks noChangeShapeType="1"/>
          </p:cNvSpPr>
          <p:nvPr userDrawn="1">
            <p:custDataLst>
              <p:tags r:id="rId6"/>
            </p:custDataLst>
          </p:nvPr>
        </p:nvSpPr>
        <p:spPr bwMode="auto">
          <a:xfrm flipV="1">
            <a:off x="0" y="6856413"/>
            <a:ext cx="9906000" cy="0"/>
          </a:xfrm>
          <a:prstGeom prst="line">
            <a:avLst/>
          </a:prstGeom>
          <a:noFill/>
          <a:ln w="12700">
            <a:solidFill>
              <a:srgbClr val="1C8CBA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7" name="Line 16"/>
          <p:cNvSpPr>
            <a:spLocks noChangeShapeType="1"/>
          </p:cNvSpPr>
          <p:nvPr userDrawn="1">
            <p:custDataLst>
              <p:tags r:id="rId7"/>
            </p:custDataLst>
          </p:nvPr>
        </p:nvSpPr>
        <p:spPr bwMode="auto">
          <a:xfrm flipV="1">
            <a:off x="0" y="6831013"/>
            <a:ext cx="9906000" cy="0"/>
          </a:xfrm>
          <a:prstGeom prst="line">
            <a:avLst/>
          </a:prstGeom>
          <a:noFill/>
          <a:ln w="12700">
            <a:solidFill>
              <a:schemeClr val="folHlink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Line 17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 flipV="1">
            <a:off x="0" y="6805613"/>
            <a:ext cx="9906000" cy="0"/>
          </a:xfrm>
          <a:prstGeom prst="line">
            <a:avLst/>
          </a:prstGeom>
          <a:noFill/>
          <a:ln w="12700">
            <a:solidFill>
              <a:srgbClr val="F77A14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Line 15"/>
          <p:cNvSpPr>
            <a:spLocks noChangeShapeType="1"/>
          </p:cNvSpPr>
          <p:nvPr userDrawn="1">
            <p:custDataLst>
              <p:tags r:id="rId9"/>
            </p:custDataLst>
          </p:nvPr>
        </p:nvSpPr>
        <p:spPr bwMode="auto">
          <a:xfrm flipV="1">
            <a:off x="0" y="6540500"/>
            <a:ext cx="9906000" cy="0"/>
          </a:xfrm>
          <a:prstGeom prst="line">
            <a:avLst/>
          </a:prstGeom>
          <a:noFill/>
          <a:ln w="3175">
            <a:solidFill>
              <a:srgbClr val="0F8CE9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>
              <a:solidFill>
                <a:prstClr val="black"/>
              </a:solidFill>
              <a:cs typeface="Arial" charset="0"/>
            </a:endParaRPr>
          </a:p>
        </p:txBody>
      </p:sp>
      <p:grpSp>
        <p:nvGrpSpPr>
          <p:cNvPr id="10" name="Group 6"/>
          <p:cNvGrpSpPr>
            <a:grpSpLocks/>
          </p:cNvGrpSpPr>
          <p:nvPr userDrawn="1"/>
        </p:nvGrpSpPr>
        <p:grpSpPr bwMode="auto">
          <a:xfrm flipV="1">
            <a:off x="0" y="738188"/>
            <a:ext cx="9906000" cy="74612"/>
            <a:chOff x="0" y="4272"/>
            <a:chExt cx="5760" cy="47"/>
          </a:xfrm>
        </p:grpSpPr>
        <p:sp>
          <p:nvSpPr>
            <p:cNvPr id="11" name="Line 15"/>
            <p:cNvSpPr>
              <a:spLocks noChangeShapeType="1"/>
            </p:cNvSpPr>
            <p:nvPr userDrawn="1">
              <p:custDataLst>
                <p:tags r:id="rId11"/>
              </p:custDataLst>
            </p:nvPr>
          </p:nvSpPr>
          <p:spPr bwMode="auto">
            <a:xfrm flipV="1">
              <a:off x="0" y="4319"/>
              <a:ext cx="5760" cy="0"/>
            </a:xfrm>
            <a:prstGeom prst="line">
              <a:avLst/>
            </a:prstGeom>
            <a:noFill/>
            <a:ln w="19050">
              <a:solidFill>
                <a:srgbClr val="1C8CBA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2" name="Line 16"/>
            <p:cNvSpPr>
              <a:spLocks noChangeShapeType="1"/>
            </p:cNvSpPr>
            <p:nvPr userDrawn="1">
              <p:custDataLst>
                <p:tags r:id="rId12"/>
              </p:custDataLst>
            </p:nvPr>
          </p:nvSpPr>
          <p:spPr bwMode="auto">
            <a:xfrm flipV="1">
              <a:off x="0" y="4295"/>
              <a:ext cx="5760" cy="0"/>
            </a:xfrm>
            <a:prstGeom prst="line">
              <a:avLst/>
            </a:prstGeom>
            <a:noFill/>
            <a:ln w="19050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13" name="Line 17"/>
            <p:cNvSpPr>
              <a:spLocks noChangeShapeType="1"/>
            </p:cNvSpPr>
            <p:nvPr userDrawn="1">
              <p:custDataLst>
                <p:tags r:id="rId13"/>
              </p:custDataLst>
            </p:nvPr>
          </p:nvSpPr>
          <p:spPr bwMode="auto">
            <a:xfrm flipV="1">
              <a:off x="0" y="4272"/>
              <a:ext cx="5760" cy="0"/>
            </a:xfrm>
            <a:prstGeom prst="line">
              <a:avLst/>
            </a:prstGeom>
            <a:noFill/>
            <a:ln w="19050">
              <a:solidFill>
                <a:srgbClr val="F77A14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>
                <a:solidFill>
                  <a:prstClr val="black"/>
                </a:solidFill>
                <a:latin typeface="Arial" charset="0"/>
                <a:cs typeface="Arial" charset="0"/>
              </a:endParaRPr>
            </a:p>
          </p:txBody>
        </p:sp>
      </p:grpSp>
      <p:sp>
        <p:nvSpPr>
          <p:cNvPr id="14" name="Номер слайда 5"/>
          <p:cNvSpPr>
            <a:spLocks noGrp="1"/>
          </p:cNvSpPr>
          <p:nvPr userDrawn="1">
            <p:ph type="sldNum" sz="quarter" idx="10"/>
            <p:custDataLst>
              <p:tags r:id="rId10"/>
            </p:custDataLst>
          </p:nvPr>
        </p:nvSpPr>
        <p:spPr>
          <a:xfrm>
            <a:off x="9472612" y="6542088"/>
            <a:ext cx="428229" cy="239712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numCol="1" anchorCtr="1" compatLnSpc="1">
            <a:prstTxWarp prst="textNoShape">
              <a:avLst/>
            </a:prstTxWarp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5A42217-38DA-4B83-8173-643BC2EBAA7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8916790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510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8F301-E096-42C4-B78C-7C74CF17EB1E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CB4198-B59E-4859-8269-3697EB912012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314407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5E2AB4-3502-4BB1-A5A6-CB73CFF3A9CD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ADB6F2-6A26-4CF3-9712-4E262685E8FE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359423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8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A67460-CE00-4731-B1B9-FD536A801355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F51966-44D4-4433-BB04-ED2C7F5D8F52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99519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677BE9-2AD3-4355-9F83-A84EAEC2C650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E74DCC-F617-4D9A-8961-D537766E5889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105245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36BA7-5635-4611-A5C3-4BE3C0D32526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D348A9-DDCA-4704-82A1-A381E2D74191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755816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CD234B-CDD1-4C63-A4AB-B002C5DCE70A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8CAC82-F722-4670-852F-53EF2A2A3529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361088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269776-95DD-4016-BA41-B7BE01E7A955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02309E-81F2-4312-A145-35A7E434840E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85651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6" descr="ЧГУ_000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5844"/>
          <a:stretch>
            <a:fillRect/>
          </a:stretch>
        </p:blipFill>
        <p:spPr bwMode="auto">
          <a:xfrm>
            <a:off x="-14280" y="0"/>
            <a:ext cx="99202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1011206"/>
            <a:ext cx="8915400" cy="560406"/>
          </a:xfrm>
        </p:spPr>
        <p:txBody>
          <a:bodyPr>
            <a:normAutofit/>
          </a:bodyPr>
          <a:lstStyle>
            <a:lvl1pPr algn="r">
              <a:defRPr sz="32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95300" y="2000240"/>
            <a:ext cx="8915400" cy="4125924"/>
          </a:xfrm>
        </p:spPr>
        <p:txBody>
          <a:bodyPr>
            <a:normAutofit/>
          </a:bodyPr>
          <a:lstStyle>
            <a:lvl1pPr>
              <a:buNone/>
              <a:defRPr sz="2400">
                <a:latin typeface="Arial" pitchFamily="34" charset="0"/>
                <a:cs typeface="Arial" pitchFamily="34" charset="0"/>
              </a:defRPr>
            </a:lvl1pPr>
            <a:lvl2pPr>
              <a:buNone/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7F5AB1-FCAD-4D39-B2C5-2BB6FD0CAAC9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9C2906-42B5-43C2-9689-D984D19225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86881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80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752721-280D-44FA-87A9-DEA6D717F57C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E0EA4-9D08-4C80-9A79-BCCECB134F1D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750633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91E863-2AD3-4B9F-8079-898C140B7101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E72A6-4DB4-47EC-BDB1-EC2D479F8420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49473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FDBB7-531E-49D0-B9BF-F6F6C51D094D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5189D3-B73A-401C-850C-53EA9BBDA560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498180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67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67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AD9CF8-0C58-44BF-A9D7-3494874B4B76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CF85F-4BB2-4D4F-8CE2-82971F76A2FC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389471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600206"/>
            <a:ext cx="89154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E7522B-C328-4454-8B67-D9536336F348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8815E3-3963-4830-8E6F-8992E8F22284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938083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95300" y="1600200"/>
            <a:ext cx="437515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35550" y="1600200"/>
            <a:ext cx="437515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95300" y="3938617"/>
            <a:ext cx="437515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5550" y="3938617"/>
            <a:ext cx="437515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64184B-3164-4CE9-A88A-18A183455942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D0334-712B-40A1-987E-ADE168AE63F3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382570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35550" y="1600200"/>
            <a:ext cx="437515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5035550" y="3938617"/>
            <a:ext cx="437515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B41D55-3267-4390-82CC-959880D20EDD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DD8D06-781E-4ED4-BF54-1B75C4AB029A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803922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FE4BA7-CB1A-4221-AFEB-E50A0558CDD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D4310C-30BA-4EC2-91F7-C78A0D76BED3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424589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42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99BE1F-045E-4E24-A957-185D3AB0DF83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CB4198-B59E-4859-8269-3697EB912012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107577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BEB98B-D96C-490A-A98A-399772E0B3CF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ADB6F2-6A26-4CF3-9712-4E262685E8FE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1513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700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22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87D3D0-4011-4739-9740-40A0B2491720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1C6D0-ECB3-4083-A4A4-14EF6147A1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745848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C73AE-DEAB-4AF1-B333-220782F52F5E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F51966-44D4-4433-BB04-ED2C7F5D8F52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472096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1CBC65-9C47-480C-BEFD-DFCB39519CCD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E74DCC-F617-4D9A-8961-D537766E5889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477589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91060D-A635-4D84-9169-5FA80BF7743B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D348A9-DDCA-4704-82A1-A381E2D74191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4911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635343-DE4E-4B81-9B06-5B9E0D512658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8CAC82-F722-4670-852F-53EF2A2A3529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71103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2917CC-5969-4D2E-909C-F7833B4F65DC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02309E-81F2-4312-A145-35A7E434840E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671531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6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CE0B1-1448-42D8-A8EF-7D1603E38F74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4E0EA4-9D08-4C80-9A79-BCCECB134F1D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951502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A5E342-C274-4446-9EDE-4C27932F052F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3E72A6-4DB4-47EC-BDB1-EC2D479F8420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307989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FCCEE-1FCB-49FA-BCA8-9882DDBAF711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5189D3-B73A-401C-850C-53EA9BBDA560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530050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55"/>
            <a:ext cx="222885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55"/>
            <a:ext cx="652145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8234D8-611F-4E34-84DC-5149DC48ED0C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7CF85F-4BB2-4D4F-8CE2-82971F76A2FC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00788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95300" y="1600206"/>
            <a:ext cx="89154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A9FBB1-B3EB-4C7B-88DE-DEEB2FEFDA25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8815E3-3963-4830-8E6F-8992E8F22284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38274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018F4F-BBC3-4286-9B77-3DE855886370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132384-64F7-4D30-BBD8-6197EDF1B1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617594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95300" y="1600200"/>
            <a:ext cx="437515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35550" y="1600200"/>
            <a:ext cx="437515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95300" y="3938605"/>
            <a:ext cx="437515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5550" y="3938605"/>
            <a:ext cx="437515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91954A-9FFC-401A-9A03-94295A36B0B4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4D0334-712B-40A1-987E-ADE168AE63F3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580316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035550" y="1600200"/>
            <a:ext cx="4375150" cy="21859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5035550" y="3938605"/>
            <a:ext cx="4375150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22635F-DDFF-4EE2-8E38-D9B887D83450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DD8D06-781E-4ED4-BF54-1B75C4AB029A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192253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95300" y="1600206"/>
            <a:ext cx="437515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6"/>
            <a:ext cx="437515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10549A-D094-4787-8053-E499A6D7E6D5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D4310C-30BA-4EC2-91F7-C78A0D76BED3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662198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1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D40999-4C44-4912-97AC-7A6FE00A24DE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254D08-2356-42B5-924F-3EC1606797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796744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3810DC-E2AC-496C-B608-317D9185E484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ECC5D9-D951-48BE-8D32-C060617325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29967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3CB07E-8F5B-4045-8212-BBD607BA7080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0A1FD5-68D0-4A30-8A3B-5379ADAA7F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151899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9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80" y="273080"/>
            <a:ext cx="553772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9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10A57B-A49C-484C-84FA-EF3B9B9E1EAC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41D852-BF20-4EFE-9B3C-1CDFDD1F21E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436130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1D15FB-E050-453B-B499-24234E5B8DCA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695118-CAB5-4DD9-8BF3-11B6DE3CFB1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855151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1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6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458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65AFC33-8A9E-4865-B9E5-F48EF26F371E}" type="datetime1">
              <a:rPr lang="ru-RU" smtClean="0"/>
              <a:pPr>
                <a:defRPr/>
              </a:pPr>
              <a:t>12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458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458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F765491-610D-4C2D-BA3E-D71B7B4E9D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22" r:id="rId3"/>
    <p:sldLayoutId id="2147483923" r:id="rId4"/>
    <p:sldLayoutId id="2147483924" r:id="rId5"/>
    <p:sldLayoutId id="2147483925" r:id="rId6"/>
    <p:sldLayoutId id="2147483926" r:id="rId7"/>
    <p:sldLayoutId id="2147483927" r:id="rId8"/>
    <p:sldLayoutId id="2147483928" r:id="rId9"/>
    <p:sldLayoutId id="2147483929" r:id="rId10"/>
    <p:sldLayoutId id="2147483930" r:id="rId11"/>
    <p:sldLayoutId id="214748411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1B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Рисунок 6" descr="ЧГУ_0001.jpg"/>
          <p:cNvPicPr>
            <a:picLocks noChangeAspect="1"/>
          </p:cNvPicPr>
          <p:nvPr/>
        </p:nvPicPr>
        <p:blipFill>
          <a:blip r:embed="rId17" cstate="print"/>
          <a:srcRect b="5844"/>
          <a:stretch>
            <a:fillRect/>
          </a:stretch>
        </p:blipFill>
        <p:spPr bwMode="auto">
          <a:xfrm>
            <a:off x="-13758" y="0"/>
            <a:ext cx="991975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6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43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CEBF961-9DD5-4629-8506-4BB2E8D66605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43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43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40917E-0359-41E7-B3D8-F823CA5C16BC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238270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1" r:id="rId2"/>
    <p:sldLayoutId id="2147484082" r:id="rId3"/>
    <p:sldLayoutId id="2147484083" r:id="rId4"/>
    <p:sldLayoutId id="2147484084" r:id="rId5"/>
    <p:sldLayoutId id="2147484085" r:id="rId6"/>
    <p:sldLayoutId id="2147484086" r:id="rId7"/>
    <p:sldLayoutId id="2147484087" r:id="rId8"/>
    <p:sldLayoutId id="2147484088" r:id="rId9"/>
    <p:sldLayoutId id="2147484089" r:id="rId10"/>
    <p:sldLayoutId id="2147484090" r:id="rId11"/>
    <p:sldLayoutId id="2147484091" r:id="rId12"/>
    <p:sldLayoutId id="2147484092" r:id="rId13"/>
    <p:sldLayoutId id="2147484093" r:id="rId14"/>
    <p:sldLayoutId id="2147484094" r:id="rId1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11B0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Рисунок 6" descr="ЧГУ_0001.jpg"/>
          <p:cNvPicPr>
            <a:picLocks noChangeAspect="1"/>
          </p:cNvPicPr>
          <p:nvPr/>
        </p:nvPicPr>
        <p:blipFill>
          <a:blip r:embed="rId17" cstate="print"/>
          <a:srcRect b="5844"/>
          <a:stretch>
            <a:fillRect/>
          </a:stretch>
        </p:blipFill>
        <p:spPr bwMode="auto">
          <a:xfrm>
            <a:off x="-13758" y="0"/>
            <a:ext cx="991975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Заголовок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6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6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8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6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E2B20C6-B74C-499C-A6A8-5D89F7E369C8}" type="datetime1">
              <a:rPr lang="ru-RU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12.12.2017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67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67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40917E-0359-41E7-B3D8-F823CA5C16BC}" type="slidenum">
              <a:rPr lang="ru-RU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94659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7" r:id="rId12"/>
    <p:sldLayoutId id="2147484108" r:id="rId13"/>
    <p:sldLayoutId id="2147484109" r:id="rId14"/>
    <p:sldLayoutId id="2147484110" r:id="rId1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6.jpeg"/><Relationship Id="rId18" Type="http://schemas.openxmlformats.org/officeDocument/2006/relationships/image" Target="../media/image29.png"/><Relationship Id="rId3" Type="http://schemas.openxmlformats.org/officeDocument/2006/relationships/image" Target="../media/image17.jpeg"/><Relationship Id="rId7" Type="http://schemas.openxmlformats.org/officeDocument/2006/relationships/image" Target="../media/image21.png"/><Relationship Id="rId12" Type="http://schemas.openxmlformats.org/officeDocument/2006/relationships/image" Target="../media/image25.jpeg"/><Relationship Id="rId17" Type="http://schemas.microsoft.com/office/2007/relationships/hdphoto" Target="../media/hdphoto3.wdp"/><Relationship Id="rId2" Type="http://schemas.openxmlformats.org/officeDocument/2006/relationships/image" Target="../media/image10.png"/><Relationship Id="rId16" Type="http://schemas.openxmlformats.org/officeDocument/2006/relationships/image" Target="../media/image2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11" Type="http://schemas.openxmlformats.org/officeDocument/2006/relationships/image" Target="../media/image24.jpeg"/><Relationship Id="rId5" Type="http://schemas.openxmlformats.org/officeDocument/2006/relationships/image" Target="../media/image19.png"/><Relationship Id="rId15" Type="http://schemas.microsoft.com/office/2007/relationships/hdphoto" Target="../media/hdphoto2.wdp"/><Relationship Id="rId10" Type="http://schemas.openxmlformats.org/officeDocument/2006/relationships/image" Target="../media/image23.emf"/><Relationship Id="rId4" Type="http://schemas.openxmlformats.org/officeDocument/2006/relationships/image" Target="../media/image18.jpe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30.jpe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10" Type="http://schemas.openxmlformats.org/officeDocument/2006/relationships/image" Target="../media/image36.png"/><Relationship Id="rId4" Type="http://schemas.openxmlformats.org/officeDocument/2006/relationships/image" Target="../media/image31.jpeg"/><Relationship Id="rId9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10A1FD5-68D0-4A30-8A3B-5379ADAA7F67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  <p:pic>
        <p:nvPicPr>
          <p:cNvPr id="3" name="Рисунок 2" descr="Gerb1.gif"/>
          <p:cNvPicPr/>
          <p:nvPr/>
        </p:nvPicPr>
        <p:blipFill>
          <a:blip r:embed="rId2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952472" y="500042"/>
            <a:ext cx="1181100" cy="15716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Рисунок 3" descr="АДДВО.JPG"/>
          <p:cNvPicPr/>
          <p:nvPr/>
        </p:nvPicPr>
        <p:blipFill>
          <a:blip r:embed="rId3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7667644" y="642918"/>
            <a:ext cx="1533525" cy="1114425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Рисунок 4" descr="Kuvahaun tulos haulle вологодский дом"/>
          <p:cNvPicPr/>
          <p:nvPr/>
        </p:nvPicPr>
        <p:blipFill>
          <a:blip r:embed="rId4">
            <a:extLst>
              <a:ext uri="{28A0092B-C50C-407E-A947-70E740481C1C}">
                <a14:useLocalDpi xmlns:lc="http://schemas.openxmlformats.org/drawingml/2006/lockedCanvas" xmlns:pic="http://schemas.openxmlformats.org/drawingml/2006/picture" xmlns:a14="http://schemas.microsoft.com/office/drawing/2010/main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4="http://schemas.microsoft.com/office/word/2010/wordml" xmlns:w="http://schemas.openxmlformats.org/wordprocessingml/2006/main" xmlns:w10="urn:schemas-microsoft-com:office:word" xmlns:wp="http://schemas.openxmlformats.org/drawingml/2006/wordprocessingDrawing" xmlns:wp14="http://schemas.microsoft.com/office/word/2010/wordprocessingDrawing" xmlns:v="urn:schemas-microsoft-com:vml" xmlns:m="http://schemas.openxmlformats.org/officeDocument/2006/math" xmlns:o="urn:schemas-microsoft-com:office:office" xmlns:mc="http://schemas.openxmlformats.org/markup-compatibility/2006" xmlns:wpc="http://schemas.microsoft.com/office/word/2010/wordprocessingCanvas" xmlns="" val="0"/>
              </a:ext>
            </a:extLst>
          </a:blip>
          <a:srcRect/>
          <a:stretch>
            <a:fillRect/>
          </a:stretch>
        </p:blipFill>
        <p:spPr bwMode="auto">
          <a:xfrm>
            <a:off x="3738554" y="714356"/>
            <a:ext cx="2543175" cy="111442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1523976" y="3357562"/>
            <a:ext cx="721523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 smtClean="0">
                <a:cs typeface="FrankRuehl" pitchFamily="34" charset="-79"/>
              </a:rPr>
              <a:t>Программа развития Промышленного кластера деревянного домостроения и деревообработки Вологодской области</a:t>
            </a:r>
            <a:endParaRPr lang="ru-RU" sz="2800" dirty="0">
              <a:cs typeface="FrankRuehl" pitchFamily="34" charset="-79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09794" y="5786454"/>
            <a:ext cx="64063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3 декабря 2017 года, г. Череповец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Прямоугольник 69"/>
          <p:cNvSpPr/>
          <p:nvPr/>
        </p:nvSpPr>
        <p:spPr>
          <a:xfrm>
            <a:off x="452406" y="4929198"/>
            <a:ext cx="2485452" cy="65603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sp>
      <p:sp>
        <p:nvSpPr>
          <p:cNvPr id="78" name="Прямоугольник 77"/>
          <p:cNvSpPr/>
          <p:nvPr/>
        </p:nvSpPr>
        <p:spPr>
          <a:xfrm>
            <a:off x="452406" y="2071678"/>
            <a:ext cx="2500330" cy="691636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        Ноябрь 2016 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452406" y="3071810"/>
            <a:ext cx="2500329" cy="62478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algn="ctr" defTabSz="311150">
              <a:lnSpc>
                <a:spcPct val="85000"/>
              </a:lnSpc>
              <a:spcAft>
                <a:spcPct val="35000"/>
              </a:spcAf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Январь 2017 года</a:t>
            </a:r>
            <a:endParaRPr lang="ru-RU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4BC61-D2D0-4020-95D7-9B1183093B1A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2452670" y="142852"/>
            <a:ext cx="475482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Этапы разработки программы</a:t>
            </a:r>
            <a:endParaRPr lang="ru-RU" sz="2800" dirty="0">
              <a:solidFill>
                <a:srgbClr val="FF0000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GOST type B" panose="02010404020404060303" pitchFamily="2" charset="0"/>
            </a:endParaRP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auto">
          <a:xfrm>
            <a:off x="232175" y="1052736"/>
            <a:ext cx="9439936" cy="71438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20000">
                <a:srgbClr val="85C2FF"/>
              </a:gs>
              <a:gs pos="35001">
                <a:srgbClr val="C4D6EB"/>
              </a:gs>
              <a:gs pos="50000">
                <a:srgbClr val="FFEBFA"/>
              </a:gs>
              <a:gs pos="64999">
                <a:srgbClr val="C4D6EB"/>
              </a:gs>
              <a:gs pos="80000">
                <a:srgbClr val="85C2FF"/>
              </a:gs>
              <a:gs pos="100000">
                <a:srgbClr val="5E9E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72233" y="116632"/>
            <a:ext cx="1199878" cy="831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sp>
        <p:nvSpPr>
          <p:cNvPr id="22" name="Прямоугольник 21"/>
          <p:cNvSpPr/>
          <p:nvPr/>
        </p:nvSpPr>
        <p:spPr>
          <a:xfrm>
            <a:off x="452406" y="1214422"/>
            <a:ext cx="2485452" cy="656039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sp>
      <p:sp>
        <p:nvSpPr>
          <p:cNvPr id="26" name="Прямоугольник 25"/>
          <p:cNvSpPr/>
          <p:nvPr/>
        </p:nvSpPr>
        <p:spPr>
          <a:xfrm>
            <a:off x="452406" y="5857893"/>
            <a:ext cx="2524947" cy="71438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marL="0" marR="0" lvl="0" indent="0" algn="ctr" defTabSz="31115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Июль </a:t>
            </a:r>
            <a:r>
              <a:rPr kumimoji="0" lang="ru-RU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17 года 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52406" y="4000504"/>
            <a:ext cx="2500330" cy="62478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algn="ctr" defTabSz="311150">
              <a:lnSpc>
                <a:spcPct val="85000"/>
              </a:lnSpc>
              <a:spcAft>
                <a:spcPct val="35000"/>
              </a:spcAf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Февраль 2017 года</a:t>
            </a:r>
            <a:endParaRPr lang="ru-RU" kern="0" dirty="0">
              <a:solidFill>
                <a:schemeClr val="dk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881034" y="1357298"/>
            <a:ext cx="1714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Апрель 2016 </a:t>
            </a:r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738158" y="5072074"/>
            <a:ext cx="19288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Март 2017 года </a:t>
            </a:r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3952868" y="1214422"/>
            <a:ext cx="5695957" cy="6429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оглашение о создании промышленного кластера деревянного домостроения Вологодской области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Стрелка вправо с вырезом 33"/>
          <p:cNvSpPr/>
          <p:nvPr/>
        </p:nvSpPr>
        <p:spPr>
          <a:xfrm>
            <a:off x="2952736" y="1285860"/>
            <a:ext cx="978408" cy="484632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3952868" y="2143116"/>
            <a:ext cx="5715040" cy="6429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зработка программы развития кластера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Стрелка вправо с вырезом 35"/>
          <p:cNvSpPr/>
          <p:nvPr/>
        </p:nvSpPr>
        <p:spPr>
          <a:xfrm>
            <a:off x="2952736" y="2214554"/>
            <a:ext cx="978408" cy="484632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3952868" y="3071810"/>
            <a:ext cx="5715040" cy="6429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Разработка функциональной карты кластера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Стрелка вправо с вырезом 37"/>
          <p:cNvSpPr/>
          <p:nvPr/>
        </p:nvSpPr>
        <p:spPr>
          <a:xfrm>
            <a:off x="2952736" y="3143248"/>
            <a:ext cx="978408" cy="484632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/>
        </p:nvSpPr>
        <p:spPr>
          <a:xfrm>
            <a:off x="3952868" y="3929066"/>
            <a:ext cx="5715040" cy="71438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оглашение с Правительством Вологодской области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Стрелка вправо с вырезом 40"/>
          <p:cNvSpPr/>
          <p:nvPr/>
        </p:nvSpPr>
        <p:spPr>
          <a:xfrm>
            <a:off x="2952736" y="4071942"/>
            <a:ext cx="978408" cy="484632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трелка вправо с вырезом 41"/>
          <p:cNvSpPr/>
          <p:nvPr/>
        </p:nvSpPr>
        <p:spPr>
          <a:xfrm>
            <a:off x="2952736" y="5000636"/>
            <a:ext cx="978408" cy="484632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трелка вправо с вырезом 43"/>
          <p:cNvSpPr/>
          <p:nvPr/>
        </p:nvSpPr>
        <p:spPr>
          <a:xfrm>
            <a:off x="3024174" y="5929330"/>
            <a:ext cx="978408" cy="484632"/>
          </a:xfrm>
          <a:prstGeom prst="notchedRightArrow">
            <a:avLst/>
          </a:prstGeom>
          <a:solidFill>
            <a:schemeClr val="bg1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3952868" y="4857760"/>
            <a:ext cx="5715040" cy="6429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дача документов для проверки в </a:t>
            </a:r>
            <a:r>
              <a:rPr lang="ru-RU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инпромторг</a:t>
            </a: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РФ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4024306" y="5857892"/>
            <a:ext cx="5643602" cy="6429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дача документов в </a:t>
            </a:r>
            <a:r>
              <a:rPr lang="ru-RU" dirty="0" err="1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Минпромторг</a:t>
            </a: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РФ для включения в реестр промышленных кластеров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1596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4BC61-D2D0-4020-95D7-9B1183093B1A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1023910" y="142852"/>
            <a:ext cx="65722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Схема территориального размещения участников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Промышленного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кластера деревянного домостроения и деревообработки и Вологодской области</a:t>
            </a:r>
            <a:endParaRPr lang="ru-RU" sz="2000" dirty="0">
              <a:solidFill>
                <a:srgbClr val="FF0000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GOST type B" panose="02010404020404060303" pitchFamily="2" charset="0"/>
            </a:endParaRP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auto">
          <a:xfrm>
            <a:off x="232175" y="1052736"/>
            <a:ext cx="9439936" cy="71438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20000">
                <a:srgbClr val="85C2FF"/>
              </a:gs>
              <a:gs pos="35001">
                <a:srgbClr val="C4D6EB"/>
              </a:gs>
              <a:gs pos="50000">
                <a:srgbClr val="FFEBFA"/>
              </a:gs>
              <a:gs pos="64999">
                <a:srgbClr val="C4D6EB"/>
              </a:gs>
              <a:gs pos="80000">
                <a:srgbClr val="85C2FF"/>
              </a:gs>
              <a:gs pos="100000">
                <a:srgbClr val="5E9E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72233" y="116632"/>
            <a:ext cx="1199878" cy="831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81034" y="1142984"/>
            <a:ext cx="8572560" cy="4028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23844" y="5055753"/>
            <a:ext cx="3667131" cy="1802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508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167182" y="4714884"/>
            <a:ext cx="3109914" cy="1729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509" name="Picture 5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239016" y="4143380"/>
            <a:ext cx="2452670" cy="15169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71596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4BC61-D2D0-4020-95D7-9B1183093B1A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1023910" y="142852"/>
            <a:ext cx="65722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Организационная схема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Промышленного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кластера деревянного домостроения и деревообработки Вологодской области</a:t>
            </a:r>
            <a:endParaRPr lang="ru-RU" sz="2000" dirty="0">
              <a:solidFill>
                <a:srgbClr val="FF0000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GOST type B" panose="02010404020404060303" pitchFamily="2" charset="0"/>
            </a:endParaRP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auto">
          <a:xfrm>
            <a:off x="232175" y="1052736"/>
            <a:ext cx="9439936" cy="71438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20000">
                <a:srgbClr val="85C2FF"/>
              </a:gs>
              <a:gs pos="35001">
                <a:srgbClr val="C4D6EB"/>
              </a:gs>
              <a:gs pos="50000">
                <a:srgbClr val="FFEBFA"/>
              </a:gs>
              <a:gs pos="64999">
                <a:srgbClr val="C4D6EB"/>
              </a:gs>
              <a:gs pos="80000">
                <a:srgbClr val="85C2FF"/>
              </a:gs>
              <a:gs pos="100000">
                <a:srgbClr val="5E9E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72233" y="116632"/>
            <a:ext cx="1199878" cy="831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52406" y="1285860"/>
            <a:ext cx="9215502" cy="5373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71596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4BC61-D2D0-4020-95D7-9B1183093B1A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1023910" y="142852"/>
            <a:ext cx="657229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err="1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Организацинно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- функциональная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схема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Промышленного </a:t>
            </a:r>
            <a:r>
              <a:rPr lang="ru-RU" sz="20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кластера деревянного домостроения и деревообработки Вологодской области</a:t>
            </a:r>
            <a:endParaRPr lang="ru-RU" sz="2000" dirty="0">
              <a:solidFill>
                <a:srgbClr val="FF0000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GOST type B" panose="02010404020404060303" pitchFamily="2" charset="0"/>
            </a:endParaRP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auto">
          <a:xfrm>
            <a:off x="232175" y="1052736"/>
            <a:ext cx="9439936" cy="71438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20000">
                <a:srgbClr val="85C2FF"/>
              </a:gs>
              <a:gs pos="35001">
                <a:srgbClr val="C4D6EB"/>
              </a:gs>
              <a:gs pos="50000">
                <a:srgbClr val="FFEBFA"/>
              </a:gs>
              <a:gs pos="64999">
                <a:srgbClr val="C4D6EB"/>
              </a:gs>
              <a:gs pos="80000">
                <a:srgbClr val="85C2FF"/>
              </a:gs>
              <a:gs pos="100000">
                <a:srgbClr val="5E9E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72233" y="116632"/>
            <a:ext cx="1199878" cy="831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1196233"/>
            <a:ext cx="9906000" cy="5661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71596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4BC61-D2D0-4020-95D7-9B1183093B1A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1023910" y="142852"/>
            <a:ext cx="65722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Показатели эффективности работы предприятий кластера</a:t>
            </a:r>
            <a:endParaRPr lang="ru-RU" sz="2400" dirty="0">
              <a:solidFill>
                <a:srgbClr val="FF0000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GOST type B" panose="02010404020404060303" pitchFamily="2" charset="0"/>
            </a:endParaRP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auto">
          <a:xfrm>
            <a:off x="232175" y="1052736"/>
            <a:ext cx="9439936" cy="71438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20000">
                <a:srgbClr val="85C2FF"/>
              </a:gs>
              <a:gs pos="35001">
                <a:srgbClr val="C4D6EB"/>
              </a:gs>
              <a:gs pos="50000">
                <a:srgbClr val="FFEBFA"/>
              </a:gs>
              <a:gs pos="64999">
                <a:srgbClr val="C4D6EB"/>
              </a:gs>
              <a:gs pos="80000">
                <a:srgbClr val="85C2FF"/>
              </a:gs>
              <a:gs pos="100000">
                <a:srgbClr val="5E9E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472233" y="116632"/>
            <a:ext cx="1199878" cy="831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76633719"/>
              </p:ext>
            </p:extLst>
          </p:nvPr>
        </p:nvGraphicFramePr>
        <p:xfrm>
          <a:off x="380968" y="1142984"/>
          <a:ext cx="9215502" cy="63320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15502"/>
              </a:tblGrid>
              <a:tr h="11702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Общий объем промышленного производства всеми участниками промышленного кластера в 2016 году – 13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млрд. рублей,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в 2020 году- 15,2 млрд. рублей     </a:t>
                      </a:r>
                      <a:endParaRPr lang="ru-RU" sz="18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571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Конечный объем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промышленного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производства всеми участниками промышленного кластера в 2016 году – 6,2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млрд.рублей,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в 2020 году- 7,2 млрд. рублей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GOST type B" panose="02010404020404060303" pitchFamily="2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Уровень кооперации участников кластера в 2016 году- 40%, в 2020 году – 60%                       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                                              </a:t>
                      </a:r>
                      <a:endParaRPr lang="ru-RU" sz="18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4834">
                <a:tc>
                  <a:txBody>
                    <a:bodyPr/>
                    <a:lstStyle/>
                    <a:p>
                      <a:pPr rtl="0" eaLnBrk="1" latinLnBrk="0" hangingPunct="1">
                        <a:buFont typeface="Wingdings" pitchFamily="2" charset="2"/>
                        <a:buChar char="ü"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Общее количество рабочих мест на предприятиях участников кластера составляет 4334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единицы</a:t>
                      </a:r>
                    </a:p>
                    <a:p>
                      <a:pPr rtl="0" eaLnBrk="1" latinLnBrk="0" hangingPunct="1">
                        <a:buFont typeface="Wingdings" pitchFamily="2" charset="2"/>
                        <a:buChar char="ü"/>
                      </a:pPr>
                      <a:endParaRPr lang="ru-RU" sz="1800" dirty="0">
                        <a:effectLst/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2262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Общее количество высокопроизводительных рабочих мест составляет –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2197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единиц</a:t>
                      </a:r>
                      <a:endParaRPr lang="ru-RU" sz="1800" dirty="0" smtClean="0">
                        <a:effectLst/>
                        <a:latin typeface="GOST type B" panose="02010404020404060303" pitchFamily="2" charset="0"/>
                      </a:endParaRPr>
                    </a:p>
                    <a:p>
                      <a:endParaRPr lang="ru-RU" sz="18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571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Средняя производительность труда на предприятиях кластера составляет 1,746 млн.рублей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GOST type B" panose="02010404020404060303" pitchFamily="2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Крупные компании участники кластера – 3 единицы,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малые и средние компании – 17 единицы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endParaRPr lang="ru-RU" sz="1800" kern="1200" dirty="0" smtClean="0">
                        <a:solidFill>
                          <a:schemeClr val="dk1"/>
                        </a:solidFill>
                        <a:effectLst/>
                        <a:latin typeface="GOST type B" panose="02010404020404060303" pitchFamily="2" charset="0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Char char="ü"/>
                        <a:tabLst/>
                        <a:defRPr/>
                      </a:pPr>
                      <a:endParaRPr lang="ru-RU" sz="18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71596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9C2906-42B5-43C2-9689-D984D19225CC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881166" y="285728"/>
            <a:ext cx="5472112" cy="704850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Конечная продукция Промышленного кластера</a:t>
            </a:r>
            <a:endParaRPr lang="ru-RU" sz="2400" dirty="0">
              <a:solidFill>
                <a:srgbClr val="FF0000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GOST type B" panose="02010404020404060303" pitchFamily="2" charset="0"/>
            </a:endParaRPr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232175" y="1052736"/>
            <a:ext cx="9439936" cy="71438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20000">
                <a:srgbClr val="85C2FF"/>
              </a:gs>
              <a:gs pos="35001">
                <a:srgbClr val="C4D6EB"/>
              </a:gs>
              <a:gs pos="50000">
                <a:srgbClr val="FFEBFA"/>
              </a:gs>
              <a:gs pos="64999">
                <a:srgbClr val="C4D6EB"/>
              </a:gs>
              <a:gs pos="80000">
                <a:srgbClr val="85C2FF"/>
              </a:gs>
              <a:gs pos="100000">
                <a:srgbClr val="5E9E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9" name="Picture 1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472233" y="116632"/>
            <a:ext cx="1199878" cy="831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16" name="Рисунок 15" descr="Картинки по запросу пиломатериалы картинки"/>
          <p:cNvPicPr/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8332" y="1124174"/>
            <a:ext cx="1506375" cy="10806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9" name="Рисунок 18" descr="Картинки по запросу Домокомплекты картинки"/>
          <p:cNvPicPr/>
          <p:nvPr/>
        </p:nvPicPr>
        <p:blipFill rotWithShape="1"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5224" b="11941"/>
          <a:stretch/>
        </p:blipFill>
        <p:spPr bwMode="auto">
          <a:xfrm>
            <a:off x="3581202" y="4536941"/>
            <a:ext cx="2023515" cy="125609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20" name="Рисунок 19"/>
          <p:cNvPicPr/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12783" y="5687593"/>
            <a:ext cx="1516526" cy="11614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1" name="Рисунок 20"/>
          <p:cNvPicPr/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136" y="5742052"/>
            <a:ext cx="1604671" cy="10524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76633719"/>
              </p:ext>
            </p:extLst>
          </p:nvPr>
        </p:nvGraphicFramePr>
        <p:xfrm>
          <a:off x="95539" y="1177410"/>
          <a:ext cx="4432793" cy="55812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32793"/>
              </a:tblGrid>
              <a:tr h="10533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Пиломатериалы, погонажные изделия</a:t>
                      </a:r>
                      <a:endParaRPr lang="ru-RU" sz="2000" dirty="0" smtClean="0">
                        <a:effectLst/>
                        <a:latin typeface="GOST type B" panose="02010404020404060303" pitchFamily="2" charset="0"/>
                      </a:endParaRPr>
                    </a:p>
                    <a:p>
                      <a:endParaRPr lang="ru-RU" sz="20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677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Клеёные и профилированные конструкции. Оцилиндрованное</a:t>
                      </a:r>
                      <a:r>
                        <a:rPr lang="ru-RU" sz="2000" kern="1200" baseline="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baseline="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бревно</a:t>
                      </a:r>
                      <a:endParaRPr lang="ru-RU" sz="2000" dirty="0" smtClean="0">
                        <a:effectLst/>
                        <a:latin typeface="GOST type B" panose="02010404020404060303" pitchFamily="2" charset="0"/>
                      </a:endParaRPr>
                    </a:p>
                    <a:p>
                      <a:endParaRPr lang="ru-RU" sz="20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53366">
                <a:tc>
                  <a:txBody>
                    <a:bodyPr/>
                    <a:lstStyle/>
                    <a:p>
                      <a:pPr rtl="0" eaLnBrk="1" latinLnBrk="0" hangingPunct="1"/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Фанера. Древесно-стружечные  </a:t>
                      </a:r>
                    </a:p>
                    <a:p>
                      <a:pPr rtl="0" eaLnBrk="1" latinLnBrk="0" hangingPunct="1"/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и ламинированные плиты</a:t>
                      </a:r>
                      <a:endParaRPr lang="ru-RU" sz="2000" dirty="0">
                        <a:effectLst/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533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Домокомплекты</a:t>
                      </a:r>
                      <a:endParaRPr lang="ru-RU" sz="2000" dirty="0" smtClean="0">
                        <a:effectLst/>
                        <a:latin typeface="GOST type B" panose="02010404020404060303" pitchFamily="2" charset="0"/>
                      </a:endParaRPr>
                    </a:p>
                    <a:p>
                      <a:endParaRPr lang="ru-RU" sz="20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533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1200" dirty="0" smtClean="0">
                          <a:solidFill>
                            <a:schemeClr val="dk1"/>
                          </a:solidFill>
                          <a:effectLst/>
                          <a:latin typeface="GOST type B" panose="02010404020404060303" pitchFamily="2" charset="0"/>
                          <a:ea typeface="+mn-ea"/>
                          <a:cs typeface="+mn-cs"/>
                        </a:rPr>
                        <a:t>Биотопливо (пеллеты, брикеты и т.п.)</a:t>
                      </a:r>
                      <a:endParaRPr lang="ru-RU" sz="2000" dirty="0" smtClean="0">
                        <a:effectLst/>
                        <a:latin typeface="GOST type B" panose="02010404020404060303" pitchFamily="2" charset="0"/>
                      </a:endParaRPr>
                    </a:p>
                    <a:p>
                      <a:endParaRPr lang="ru-RU" sz="2000" dirty="0">
                        <a:latin typeface="GOST type B" panose="02010404020404060303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2301" name="Picture 1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6856" y="2204863"/>
            <a:ext cx="3212356" cy="1080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02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070" y="4580079"/>
            <a:ext cx="1726262" cy="115212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3" name="Picture 15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7136" y="1196752"/>
            <a:ext cx="4982446" cy="93610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AutoShape 17" descr="Картинки по запросу Древесно-стружечные плиты картинки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AutoShape 19" descr="Картинки по запросу Древесно-стружечные плиты картинки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2312" name="Picture 24" descr="Похожее изображение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8718" y="3468823"/>
            <a:ext cx="1196246" cy="1179157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14" name="Picture 26" descr="Картинки по запросу фанера картинки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9713" y="3525188"/>
            <a:ext cx="2893488" cy="106642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16" name="Picture 28" descr="Похожее изображение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307" y="3431190"/>
            <a:ext cx="1722943" cy="117925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18" name="Picture 30" descr="Похожее изображение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BEBA8EAE-BF5A-486C-A8C5-ECC9F3942E4B}">
                <a14:imgProps xmlns="" xmlns:a14="http://schemas.microsoft.com/office/drawing/2010/main">
                  <a14:imgLayer r:embed="rId1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 r="6141"/>
          <a:stretch/>
        </p:blipFill>
        <p:spPr bwMode="auto">
          <a:xfrm>
            <a:off x="6770552" y="2306864"/>
            <a:ext cx="3128155" cy="90611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22" name="Picture 34" descr="Похожее изображение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BEBA8EAE-BF5A-486C-A8C5-ECC9F3942E4B}">
                <a14:imgProps xmlns="" xmlns:a14="http://schemas.microsoft.com/office/drawing/2010/main">
                  <a14:imgLayer r:embed="rId1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6421" y="4580079"/>
            <a:ext cx="1984917" cy="111651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23" name="Picture 35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27712"/>
          <a:stretch/>
        </p:blipFill>
        <p:spPr bwMode="auto">
          <a:xfrm>
            <a:off x="7781807" y="5732205"/>
            <a:ext cx="1524328" cy="112346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7609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Картинки по запросу деревянное домостроение картинка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187" y="1906059"/>
            <a:ext cx="2880000" cy="2160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9" name="Группа 68"/>
          <p:cNvGrpSpPr/>
          <p:nvPr/>
        </p:nvGrpSpPr>
        <p:grpSpPr>
          <a:xfrm>
            <a:off x="463461" y="1250020"/>
            <a:ext cx="2596385" cy="656039"/>
            <a:chOff x="1421" y="696294"/>
            <a:chExt cx="1980713" cy="276640"/>
          </a:xfrm>
        </p:grpSpPr>
        <p:sp>
          <p:nvSpPr>
            <p:cNvPr id="70" name="Прямоугольник 69"/>
            <p:cNvSpPr/>
            <p:nvPr/>
          </p:nvSpPr>
          <p:spPr>
            <a:xfrm>
              <a:off x="1421" y="696294"/>
              <a:ext cx="1896085" cy="276640"/>
            </a:xfrm>
            <a:prstGeom prst="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</p:sp>
        <p:sp>
          <p:nvSpPr>
            <p:cNvPr id="71" name="Прямоугольник 70"/>
            <p:cNvSpPr/>
            <p:nvPr/>
          </p:nvSpPr>
          <p:spPr>
            <a:xfrm>
              <a:off x="1421" y="696294"/>
              <a:ext cx="1980713" cy="276640"/>
            </a:xfrm>
            <a:prstGeom prst="rect">
              <a:avLst/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26670" tIns="26670" rIns="26670" bIns="26670" numCol="1" spcCol="1270" anchor="ctr" anchorCtr="0">
              <a:noAutofit/>
            </a:bodyPr>
            <a:lstStyle/>
            <a:p>
              <a:pPr marL="0" marR="0" lvl="0" indent="0" algn="ctr" defTabSz="311150" eaLnBrk="1" fontAlgn="auto" latinLnBrk="0" hangingPunct="1">
                <a:lnSpc>
                  <a:spcPct val="85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GOST type B" panose="02010404020404060303" pitchFamily="2" charset="0"/>
                </a:rPr>
                <a:t>Индивидуальное малоэтажное жилищное строительство</a:t>
              </a:r>
            </a:p>
          </p:txBody>
        </p:sp>
      </p:grpSp>
      <p:sp>
        <p:nvSpPr>
          <p:cNvPr id="78" name="Прямоугольник 77"/>
          <p:cNvSpPr/>
          <p:nvPr/>
        </p:nvSpPr>
        <p:spPr>
          <a:xfrm>
            <a:off x="3715234" y="1264983"/>
            <a:ext cx="2605917" cy="641075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algn="ctr" defTabSz="311150">
              <a:lnSpc>
                <a:spcPct val="85000"/>
              </a:lnSpc>
              <a:spcAft>
                <a:spcPct val="35000"/>
              </a:spcAft>
            </a:pPr>
            <a:r>
              <a:rPr lang="ru-RU" sz="1400" kern="0" dirty="0" smtClean="0">
                <a:latin typeface="GOST type B" panose="02010404020404060303" pitchFamily="2" charset="0"/>
              </a:rPr>
              <a:t>Социальное и многоэтажное </a:t>
            </a:r>
            <a:r>
              <a:rPr lang="ru-RU" sz="1400" kern="0" dirty="0">
                <a:latin typeface="GOST type B" panose="02010404020404060303" pitchFamily="2" charset="0"/>
              </a:rPr>
              <a:t>жилищное строительство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6755480" y="1281275"/>
            <a:ext cx="2662015" cy="624784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spcFirstLastPara="0" vert="horz" wrap="square" lIns="26670" tIns="26670" rIns="26670" bIns="26670" numCol="1" spcCol="1270" anchor="ctr" anchorCtr="0">
            <a:noAutofit/>
          </a:bodyPr>
          <a:lstStyle/>
          <a:p>
            <a:pPr algn="ctr" defTabSz="311150">
              <a:lnSpc>
                <a:spcPct val="85000"/>
              </a:lnSpc>
              <a:spcAft>
                <a:spcPct val="35000"/>
              </a:spcAft>
            </a:pPr>
            <a:r>
              <a:rPr lang="ru-RU" sz="1400" dirty="0">
                <a:latin typeface="GOST type B" panose="02010404020404060303" pitchFamily="2" charset="0"/>
              </a:rPr>
              <a:t>Биотопливо (пеллеты, брикеты и </a:t>
            </a:r>
            <a:r>
              <a:rPr lang="ru-RU" sz="1400" dirty="0" smtClean="0">
                <a:latin typeface="GOST type B" panose="02010404020404060303" pitchFamily="2" charset="0"/>
              </a:rPr>
              <a:t>пр.)</a:t>
            </a:r>
            <a:endParaRPr lang="ru-RU" sz="1400" kern="0" dirty="0">
              <a:solidFill>
                <a:schemeClr val="dk1"/>
              </a:solidFill>
              <a:latin typeface="GOST type B" panose="02010404020404060303" pitchFamily="2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64BC61-D2D0-4020-95D7-9B1183093B1A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2166918" y="142852"/>
            <a:ext cx="568352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Области </a:t>
            </a:r>
            <a:r>
              <a:rPr lang="ru-RU" sz="2800" b="1" dirty="0" smtClean="0">
                <a:solidFill>
                  <a:srgbClr val="FF0000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GOST type B" panose="02010404020404060303" pitchFamily="2" charset="0"/>
              </a:rPr>
              <a:t>применения конечной продукции</a:t>
            </a:r>
            <a:endParaRPr lang="ru-RU" sz="2800" dirty="0">
              <a:solidFill>
                <a:srgbClr val="FF0000"/>
              </a:solidFill>
              <a:effectLst>
                <a:outerShdw blurRad="50800" dist="50800" dir="5400000" algn="ctr" rotWithShape="0">
                  <a:schemeClr val="tx1"/>
                </a:outerShdw>
              </a:effectLst>
              <a:latin typeface="GOST type B" panose="02010404020404060303" pitchFamily="2" charset="0"/>
            </a:endParaRP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auto">
          <a:xfrm>
            <a:off x="232175" y="1052736"/>
            <a:ext cx="9439936" cy="71438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20000">
                <a:srgbClr val="85C2FF"/>
              </a:gs>
              <a:gs pos="35001">
                <a:srgbClr val="C4D6EB"/>
              </a:gs>
              <a:gs pos="50000">
                <a:srgbClr val="FFEBFA"/>
              </a:gs>
              <a:gs pos="64999">
                <a:srgbClr val="C4D6EB"/>
              </a:gs>
              <a:gs pos="80000">
                <a:srgbClr val="85C2FF"/>
              </a:gs>
              <a:gs pos="100000">
                <a:srgbClr val="5E9EFF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>
              <a:solidFill>
                <a:srgbClr val="000000"/>
              </a:solidFill>
            </a:endParaRPr>
          </a:p>
        </p:txBody>
      </p:sp>
      <p:pic>
        <p:nvPicPr>
          <p:cNvPr id="13316" name="Picture 4" descr="Картинки по запросу деревянное домостроение картинка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013" y="4122906"/>
            <a:ext cx="2863286" cy="2052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0" name="Picture 8" descr="Картинки по запросу Многоэтажное деревянное домостроение картинка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8824" y="4105174"/>
            <a:ext cx="3081080" cy="2052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2" name="Picture 10" descr="Картинки по запросу биотопливо дерево картинка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7176" y="1960059"/>
            <a:ext cx="3240360" cy="2052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4" name="Picture 12" descr="Картинки по запросу биотопливо дерево картинка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3750" b="3500"/>
          <a:stretch/>
        </p:blipFill>
        <p:spPr bwMode="auto">
          <a:xfrm>
            <a:off x="6524636" y="4143380"/>
            <a:ext cx="3240360" cy="205200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2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8472233" y="116632"/>
            <a:ext cx="1199878" cy="831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0882354" y="14716204"/>
            <a:ext cx="94611825" cy="66836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3381364" y="2000240"/>
            <a:ext cx="3214709" cy="20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271596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/>
          </p:cNvSpPr>
          <p:nvPr/>
        </p:nvSpPr>
        <p:spPr bwMode="auto">
          <a:xfrm>
            <a:off x="2000672" y="2638630"/>
            <a:ext cx="5832475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eaLnBrk="0" hangingPunct="0"/>
            <a:r>
              <a:rPr lang="ru-RU" sz="4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GOST type B" pitchFamily="2" charset="0"/>
              </a:rPr>
              <a:t>Спасибо за внимание</a:t>
            </a:r>
            <a:endParaRPr lang="ru-RU" sz="48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OST type B" pitchFamily="2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C9C2906-42B5-43C2-9689-D984D19225C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vpXDuRwkqxTGWOyzwg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5lNqjdi0ugsXhdn_o1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AklywZWUSYgQ_7Idu7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mKqsLe3ESsqSWoe.er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MArCOYTEy.o.k4UPB3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8lXop_IESRHmEXBww.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TJhU9Kv0SoNIbdXzop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SxgEC8hUen63QA2IPe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1.I1aUikC3b8kIrx9Z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WYv6eggUWekDRzdV_Lz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svf0cIVEqTigtOYgP_L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0_Тема Office">
  <a:themeElements>
    <a:clrScheme name="2_Тема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Тема 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Тема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Тема Office">
  <a:themeElements>
    <a:clrScheme name="2_Тема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2_Тема Offic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Тема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251</TotalTime>
  <Words>293</Words>
  <Application>Microsoft Office PowerPoint</Application>
  <PresentationFormat>Лист A4 (210x297 мм)</PresentationFormat>
  <Paragraphs>60</Paragraphs>
  <Slides>9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3" baseType="lpstr">
      <vt:lpstr>Тема Office</vt:lpstr>
      <vt:lpstr>10_Тема Office</vt:lpstr>
      <vt:lpstr>5_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Конечная продукция Промышленного кластера</vt:lpstr>
      <vt:lpstr>Слайд 8</vt:lpstr>
      <vt:lpstr>Слайд 9</vt:lpstr>
    </vt:vector>
  </TitlesOfParts>
  <Company>ГОУ ВПО ЧГУ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ект изменений структуры административно-правового управления</dc:title>
  <dc:creator>Илона</dc:creator>
  <cp:lastModifiedBy>Наташа</cp:lastModifiedBy>
  <cp:revision>592</cp:revision>
  <cp:lastPrinted>2016-11-17T13:38:45Z</cp:lastPrinted>
  <dcterms:created xsi:type="dcterms:W3CDTF">2010-07-28T13:49:31Z</dcterms:created>
  <dcterms:modified xsi:type="dcterms:W3CDTF">2017-12-12T10:03:14Z</dcterms:modified>
</cp:coreProperties>
</file>